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3" r:id="rId8"/>
    <p:sldId id="262" r:id="rId9"/>
    <p:sldId id="264" r:id="rId10"/>
    <p:sldId id="265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еры социальной поддержки </c:v>
                </c:pt>
              </c:strCache>
            </c:strRef>
          </c:tx>
          <c:dLbls>
            <c:dLbl>
              <c:idx val="0"/>
              <c:layout>
                <c:manualLayout>
                  <c:x val="-9.7469346840250076E-2"/>
                  <c:y val="4.40855621305235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12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2.5664446374645242E-2"/>
                  <c:y val="-0.1295152146837486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136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4.675010857379483E-2"/>
                  <c:y val="-8.6085464188189617E-2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86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8.9581145024290224E-2"/>
                  <c:y val="1.4875174688192541E-2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292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2.9848135560695276E-2"/>
                  <c:y val="9.7287253170700333E-2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79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:$A$6</c:f>
              <c:strCache>
                <c:ptCount val="5"/>
                <c:pt idx="0">
                  <c:v>Субсидии на оплату жилого помещения и коммунальных услуг</c:v>
                </c:pt>
                <c:pt idx="1">
                  <c:v>Оформление льгот отдельным категориям градждан (ЕДК, Удостоверения и пр.)</c:v>
                </c:pt>
                <c:pt idx="2">
                  <c:v>Пособия для семей с детьми</c:v>
                </c:pt>
                <c:pt idx="3">
                  <c:v>Государственная социальная помощь</c:v>
                </c:pt>
                <c:pt idx="4">
                  <c:v>Иные (получение справок, карты "Забота" и пр.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12</c:v>
                </c:pt>
                <c:pt idx="1">
                  <c:v>136</c:v>
                </c:pt>
                <c:pt idx="2">
                  <c:v>86</c:v>
                </c:pt>
                <c:pt idx="3">
                  <c:v>292</c:v>
                </c:pt>
                <c:pt idx="4">
                  <c:v>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897055630182505"/>
          <c:y val="0.21079931177237618"/>
          <c:w val="0.4102944369817495"/>
          <c:h val="0.77541274653693448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829373152358607"/>
          <c:y val="0.17802756764399916"/>
          <c:w val="0.50200188121690503"/>
          <c:h val="0.82197243235600082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 год</c:v>
                </c:pt>
              </c:strCache>
            </c:strRef>
          </c:tx>
          <c:invertIfNegative val="0"/>
          <c:cat>
            <c:strRef>
              <c:f>Лист1!$A$2:$A$4</c:f>
              <c:strCache>
                <c:ptCount val="3"/>
                <c:pt idx="0">
                  <c:v>Диспасеризация (скрининги), для лиц старше 60 лет</c:v>
                </c:pt>
                <c:pt idx="1">
                  <c:v>Экстренные выезды</c:v>
                </c:pt>
                <c:pt idx="2">
                  <c:v>Плановые выезд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7</c:v>
                </c:pt>
                <c:pt idx="1">
                  <c:v>13</c:v>
                </c:pt>
                <c:pt idx="2">
                  <c:v>2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 год</c:v>
                </c:pt>
              </c:strCache>
            </c:strRef>
          </c:tx>
          <c:invertIfNegative val="0"/>
          <c:cat>
            <c:strRef>
              <c:f>Лист1!$A$2:$A$4</c:f>
              <c:strCache>
                <c:ptCount val="3"/>
                <c:pt idx="0">
                  <c:v>Диспасеризация (скрининги), для лиц старше 60 лет</c:v>
                </c:pt>
                <c:pt idx="1">
                  <c:v>Экстренные выезды</c:v>
                </c:pt>
                <c:pt idx="2">
                  <c:v>Плановые выезды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</c:v>
                </c:pt>
                <c:pt idx="1">
                  <c:v>12</c:v>
                </c:pt>
                <c:pt idx="2">
                  <c:v>1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21332096"/>
        <c:axId val="121333632"/>
        <c:axId val="0"/>
      </c:bar3DChart>
      <c:catAx>
        <c:axId val="121332096"/>
        <c:scaling>
          <c:orientation val="minMax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21333632"/>
        <c:crossesAt val="0"/>
        <c:auto val="1"/>
        <c:lblAlgn val="r"/>
        <c:lblOffset val="100"/>
        <c:noMultiLvlLbl val="0"/>
      </c:catAx>
      <c:valAx>
        <c:axId val="1213336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1332096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6172200" cy="189436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286000" y="5003322"/>
            <a:ext cx="6172200" cy="1371600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4621" y="1174097"/>
            <a:ext cx="2286000" cy="381000"/>
          </a:xfrm>
        </p:spPr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269" y="4181669"/>
            <a:ext cx="3657600" cy="384048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Прямая соединительная линия 17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0" name="Прямая соединительная линия 19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Прямая соединительная линия 1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2" name="Прямая соединительная линия 21"/>
          <p:cNvSpPr>
            <a:spLocks noChangeShapeType="1"/>
          </p:cNvSpPr>
          <p:nvPr/>
        </p:nvSpPr>
        <p:spPr bwMode="auto">
          <a:xfrm>
            <a:off x="9113856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Овал 20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Овал 22"/>
          <p:cNvSpPr/>
          <p:nvPr/>
        </p:nvSpPr>
        <p:spPr bwMode="auto">
          <a:xfrm>
            <a:off x="1309632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4" name="Овал 23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Овал 25"/>
          <p:cNvSpPr/>
          <p:nvPr/>
        </p:nvSpPr>
        <p:spPr bwMode="auto">
          <a:xfrm>
            <a:off x="1664208" y="5788152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5" name="Овал 24"/>
          <p:cNvSpPr/>
          <p:nvPr/>
        </p:nvSpPr>
        <p:spPr>
          <a:xfrm>
            <a:off x="1905000" y="4495800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 bwMode="auto">
          <a:xfrm>
            <a:off x="1325544" y="4928702"/>
            <a:ext cx="609600" cy="517524"/>
          </a:xfrm>
        </p:spPr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1676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7467600" cy="4873752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0" y="2895600"/>
            <a:ext cx="6172200" cy="2053590"/>
          </a:xfrm>
        </p:spPr>
        <p:txBody>
          <a:bodyPr/>
          <a:lstStyle>
            <a:lvl1pPr algn="l">
              <a:buNone/>
              <a:defRPr sz="3000" b="1" cap="sm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286000" y="5010150"/>
            <a:ext cx="6172200" cy="13716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3256" y="1170432"/>
            <a:ext cx="2286000" cy="381000"/>
          </a:xfrm>
        </p:spPr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456" y="4178808"/>
            <a:ext cx="3657600" cy="384048"/>
          </a:xfrm>
        </p:spPr>
        <p:txBody>
          <a:bodyPr/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Прямая соединительная линия 12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Прямая соединительная линия 13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Прямая соединительная линия 14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7" name="Прямая соединительная линия 16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Овал 18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0" name="Овал 19"/>
          <p:cNvSpPr/>
          <p:nvPr/>
        </p:nvSpPr>
        <p:spPr bwMode="auto">
          <a:xfrm>
            <a:off x="1324704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Овал 20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Овал 21"/>
          <p:cNvSpPr/>
          <p:nvPr/>
        </p:nvSpPr>
        <p:spPr bwMode="auto">
          <a:xfrm>
            <a:off x="1664208" y="5791200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Овал 22"/>
          <p:cNvSpPr/>
          <p:nvPr/>
        </p:nvSpPr>
        <p:spPr bwMode="auto">
          <a:xfrm>
            <a:off x="1879040" y="4479888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Прямая соединительная линия 25"/>
          <p:cNvSpPr>
            <a:spLocks noChangeShapeType="1"/>
          </p:cNvSpPr>
          <p:nvPr/>
        </p:nvSpPr>
        <p:spPr bwMode="auto">
          <a:xfrm>
            <a:off x="9097944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340616" y="4928702"/>
            <a:ext cx="609600" cy="517524"/>
          </a:xfrm>
        </p:spPr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4270248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7543800" cy="1143000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4371975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"/>
          </p:nvPr>
        </p:nvSpPr>
        <p:spPr>
          <a:xfrm>
            <a:off x="4572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"/>
          </p:nvPr>
        </p:nvSpPr>
        <p:spPr>
          <a:xfrm>
            <a:off x="43434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5400000">
            <a:off x="3371850" y="3200400"/>
            <a:ext cx="6309360" cy="457200"/>
          </a:xfrm>
        </p:spPr>
        <p:txBody>
          <a:bodyPr anchor="b"/>
          <a:lstStyle>
            <a:lvl1pPr algn="l">
              <a:buNone/>
              <a:defRPr sz="2000" b="1" cap="sm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12280" y="274320"/>
            <a:ext cx="1527048" cy="49834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1000"/>
              </a:spcAft>
              <a:buNone/>
              <a:defRPr sz="12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Прямая соединительная линия 12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Овал 13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8" name="Объект 17"/>
          <p:cNvSpPr>
            <a:spLocks noGrp="1"/>
          </p:cNvSpPr>
          <p:nvPr>
            <p:ph sz="quarter" idx="1"/>
          </p:nvPr>
        </p:nvSpPr>
        <p:spPr>
          <a:xfrm>
            <a:off x="304800" y="274320"/>
            <a:ext cx="5638800" cy="6327648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1" name="Дата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23" name="Нижний колонтитул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3" name="Овал 12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5400000">
            <a:off x="3350133" y="3200400"/>
            <a:ext cx="6309360" cy="457200"/>
          </a:xfrm>
        </p:spPr>
        <p:txBody>
          <a:bodyPr anchor="b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6172200" cy="6858000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200"/>
            </a:lvl1pPr>
          </a:lstStyle>
          <a:p>
            <a:pPr algn="ctr" eaLnBrk="1" latinLnBrk="0" hangingPunct="1">
              <a:buFontTx/>
              <a:buNone/>
            </a:pPr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765798" y="264795"/>
            <a:ext cx="1524000" cy="4956048"/>
          </a:xfrm>
        </p:spPr>
        <p:txBody>
          <a:bodyPr rot="0" spcFirstLastPara="0" vertOverflow="overflow" horzOverflow="overflow" vert="horz" wrap="square" lIns="91440" tIns="45720" rIns="91440" bIns="45720" numCol="1" spcCol="274320" rtlCol="0" fromWordArt="0" anchor="t" anchorCtr="0" forceAA="0" compatLnSpc="1">
            <a:normAutofit/>
          </a:bodyPr>
          <a:lstStyle>
            <a:lvl1pPr marL="0" indent="0">
              <a:spcBef>
                <a:spcPts val="100"/>
              </a:spcBef>
              <a:spcAft>
                <a:spcPts val="400"/>
              </a:spcAft>
              <a:buFontTx/>
              <a:buNone/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9" name="Прямая соединительная линия 18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0" name="Прямая соединительная линия 19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7" name="Дата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87375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 rot="5400000">
            <a:off x="7589520" y="1081851"/>
            <a:ext cx="2011680" cy="384048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fld id="{244F94BD-BCA8-4DEB-8E5C-658DB42F1552}" type="datetimeFigureOut">
              <a:rPr lang="ru-RU" smtClean="0"/>
              <a:t>18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 rot="5400000">
            <a:off x="6990186" y="3737240"/>
            <a:ext cx="3200400" cy="365760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76200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Овал 11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129016" y="5734050"/>
            <a:ext cx="609600" cy="521208"/>
          </a:xfrm>
          <a:prstGeom prst="rect">
            <a:avLst/>
          </a:prstGeom>
        </p:spPr>
        <p:txBody>
          <a:bodyPr vert="horz" anchor="ctr"/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016BD090-954D-4CDF-93DB-F4F91969EC61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rtl="0" eaLnBrk="1" latinLnBrk="0" hangingPunct="1">
        <a:spcBef>
          <a:spcPct val="0"/>
        </a:spcBef>
        <a:buNone/>
        <a:defRPr kumimoji="0" sz="30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0000"/>
        <a:buFont typeface="Wingdings"/>
        <a:buChar char="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182880" algn="l" rtl="0" eaLnBrk="1" latinLnBrk="0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rtl="0" eaLnBrk="1" latinLnBrk="0" hangingPunct="1">
        <a:spcBef>
          <a:spcPct val="20000"/>
        </a:spcBef>
        <a:buClr>
          <a:schemeClr val="accent1"/>
        </a:buClr>
        <a:buChar char="•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2"/>
        </a:buClr>
        <a:buChar char="•"/>
        <a:defRPr kumimoji="0" sz="14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11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67325" y="188640"/>
            <a:ext cx="6217043" cy="230425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b="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ое учреждение социального обслуживания Вологодской области </a:t>
            </a:r>
            <a:br>
              <a:rPr lang="ru-RU" sz="2400" b="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омплексный центр социального обслуживания населения </a:t>
            </a:r>
            <a: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ольского </a:t>
            </a:r>
            <a:r>
              <a:rPr lang="ru-RU" sz="2400" b="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а»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07704" y="2697204"/>
            <a:ext cx="6912768" cy="4176464"/>
          </a:xfrm>
        </p:spPr>
        <p:txBody>
          <a:bodyPr>
            <a:normAutofit fontScale="92500"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</a:rPr>
              <a:t>Перспективные направления деятельности участковых специалистов по социальной работе</a:t>
            </a:r>
          </a:p>
          <a:p>
            <a:pPr algn="ctr"/>
            <a:endParaRPr lang="ru-RU" sz="2400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</a:rPr>
              <a:t>18.11.2022</a:t>
            </a:r>
            <a:endParaRPr lang="ru-RU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4" y="7144"/>
            <a:ext cx="1643661" cy="1512168"/>
          </a:xfrm>
          <a:prstGeom prst="rect">
            <a:avLst/>
          </a:prstGeom>
        </p:spPr>
      </p:pic>
      <p:pic>
        <p:nvPicPr>
          <p:cNvPr id="5" name="Picture 8" descr="i?id=1bddaf6eeb40aa3b69946da9332285de-l&amp;n=1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EFB"/>
              </a:clrFrom>
              <a:clrTo>
                <a:srgbClr val="FFFE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231174"/>
            <a:ext cx="1016670" cy="128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358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60648"/>
            <a:ext cx="7467600" cy="634082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/>
              <a:t>повышение </a:t>
            </a:r>
            <a:r>
              <a:rPr lang="ru-RU" b="1" dirty="0"/>
              <a:t>квалификации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04" y="1033073"/>
            <a:ext cx="3816424" cy="27206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775" y="1084128"/>
            <a:ext cx="4199246" cy="26696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08" y="3892829"/>
            <a:ext cx="3744416" cy="26766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775" y="3892828"/>
            <a:ext cx="4199246" cy="27659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234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332656"/>
            <a:ext cx="7467600" cy="1143000"/>
          </a:xfrm>
        </p:spPr>
        <p:txBody>
          <a:bodyPr/>
          <a:lstStyle/>
          <a:p>
            <a:pPr algn="ctr"/>
            <a:r>
              <a:rPr lang="ru-RU" b="1" u="sng" dirty="0" err="1" smtClean="0">
                <a:solidFill>
                  <a:schemeClr val="accent6">
                    <a:lumMod val="50000"/>
                  </a:schemeClr>
                </a:solidFill>
              </a:rPr>
              <a:t>Сокольский</a:t>
            </a:r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 муниципальный район</a:t>
            </a:r>
            <a:endParaRPr lang="ru-RU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2708920"/>
            <a:ext cx="5760640" cy="3273964"/>
          </a:xfrm>
        </p:spPr>
      </p:pic>
      <p:sp>
        <p:nvSpPr>
          <p:cNvPr id="5" name="TextBox 4"/>
          <p:cNvSpPr txBox="1"/>
          <p:nvPr/>
        </p:nvSpPr>
        <p:spPr>
          <a:xfrm>
            <a:off x="467544" y="1700808"/>
            <a:ext cx="82089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 территории Сокольского муниципального района расположены 8 поселений, из них 1 городское поселение и  7 сельских. В сельских поселениях проживает 6731человек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6615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202186488"/>
              </p:ext>
            </p:extLst>
          </p:nvPr>
        </p:nvGraphicFramePr>
        <p:xfrm>
          <a:off x="467544" y="980728"/>
          <a:ext cx="7920880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755576" y="332656"/>
            <a:ext cx="7467600" cy="720080"/>
          </a:xfrm>
        </p:spPr>
        <p:txBody>
          <a:bodyPr/>
          <a:lstStyle/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Меры социальной поддержки</a:t>
            </a:r>
            <a:endParaRPr lang="ru-RU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967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60648"/>
            <a:ext cx="7467600" cy="782960"/>
          </a:xfrm>
        </p:spPr>
        <p:txBody>
          <a:bodyPr>
            <a:normAutofit/>
          </a:bodyPr>
          <a:lstStyle/>
          <a:p>
            <a:pPr algn="ctr"/>
            <a:r>
              <a:rPr lang="ru-RU" sz="3600" b="1" u="sng" dirty="0" smtClean="0">
                <a:solidFill>
                  <a:schemeClr val="accent6">
                    <a:lumMod val="50000"/>
                  </a:schemeClr>
                </a:solidFill>
              </a:rPr>
              <a:t>Мобильные бригады</a:t>
            </a:r>
            <a:endParaRPr lang="ru-RU" sz="3600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992167943"/>
              </p:ext>
            </p:extLst>
          </p:nvPr>
        </p:nvGraphicFramePr>
        <p:xfrm>
          <a:off x="232589" y="1196752"/>
          <a:ext cx="5059491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51520" y="4797152"/>
            <a:ext cx="47525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/>
              <a:t>Охвачено деятельностью - 1226 человек </a:t>
            </a:r>
            <a:endParaRPr lang="ru-RU" sz="1600" dirty="0" smtClean="0"/>
          </a:p>
          <a:p>
            <a:pPr algn="just"/>
            <a:r>
              <a:rPr lang="ru-RU" sz="1600" dirty="0" smtClean="0"/>
              <a:t>(</a:t>
            </a:r>
            <a:r>
              <a:rPr lang="ru-RU" sz="1600" dirty="0" smtClean="0"/>
              <a:t>2021 г.  -  1182), из них оказано срочных социальных услуг – 530 гражданам (2021 г. – 537).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196752"/>
            <a:ext cx="3384376" cy="45125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9199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16632"/>
            <a:ext cx="7467600" cy="720080"/>
          </a:xfrm>
        </p:spPr>
        <p:txBody>
          <a:bodyPr/>
          <a:lstStyle/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Междисциплинарная бригада</a:t>
            </a:r>
            <a:endParaRPr lang="ru-RU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quarter" idx="1"/>
          </p:nvPr>
        </p:nvSpPr>
        <p:spPr>
          <a:xfrm>
            <a:off x="611560" y="1130819"/>
            <a:ext cx="7467600" cy="864096"/>
          </a:xfrm>
        </p:spPr>
        <p:txBody>
          <a:bodyPr>
            <a:normAutofit fontScale="77500" lnSpcReduction="20000"/>
          </a:bodyPr>
          <a:lstStyle/>
          <a:p>
            <a:r>
              <a:rPr lang="ru-RU" b="1" dirty="0" smtClean="0"/>
              <a:t>Осуществлено 8 выездов</a:t>
            </a:r>
          </a:p>
          <a:p>
            <a:r>
              <a:rPr lang="ru-RU" b="1" dirty="0" smtClean="0"/>
              <a:t>Охвачено 6 семей, воспитывающих детей-инвалидов</a:t>
            </a:r>
            <a:endParaRPr lang="ru-RU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1898846"/>
            <a:ext cx="1799946" cy="2399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1899629"/>
            <a:ext cx="1774151" cy="23655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898" y="1898846"/>
            <a:ext cx="1327875" cy="23663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898846"/>
            <a:ext cx="1551677" cy="23245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422" y="4371464"/>
            <a:ext cx="3085046" cy="2313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959" y="4371464"/>
            <a:ext cx="3208482" cy="24099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507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08912" cy="778098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Центр активного долголетия «Забота»</a:t>
            </a:r>
            <a:endParaRPr lang="ru-RU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323528" y="1052736"/>
            <a:ext cx="8219256" cy="5349208"/>
          </a:xfrm>
        </p:spPr>
        <p:txBody>
          <a:bodyPr/>
          <a:lstStyle/>
          <a:p>
            <a:pPr marL="0" indent="0" algn="just">
              <a:buNone/>
            </a:pPr>
            <a:endParaRPr lang="ru-RU" sz="1800" dirty="0" smtClean="0"/>
          </a:p>
          <a:p>
            <a:endParaRPr lang="ru-RU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611560" y="1290076"/>
            <a:ext cx="2808312" cy="144016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7 филиалов 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ЦАД </a:t>
            </a:r>
            <a:r>
              <a:rPr lang="ru-RU" b="1" dirty="0" smtClean="0">
                <a:solidFill>
                  <a:schemeClr val="bg1"/>
                </a:solidFill>
              </a:rPr>
              <a:t>«Забота»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365" y="2515383"/>
            <a:ext cx="4476933" cy="2520280"/>
          </a:xfrm>
          <a:prstGeom prst="rect">
            <a:avLst/>
          </a:prstGeom>
        </p:spPr>
      </p:pic>
      <p:sp>
        <p:nvSpPr>
          <p:cNvPr id="7" name="Пятиугольник 6"/>
          <p:cNvSpPr/>
          <p:nvPr/>
        </p:nvSpPr>
        <p:spPr>
          <a:xfrm flipH="1">
            <a:off x="5364088" y="1290076"/>
            <a:ext cx="2880320" cy="144016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Более 300 участников</a:t>
            </a:r>
            <a:endParaRPr lang="ru-RU" b="1" dirty="0"/>
          </a:p>
        </p:txBody>
      </p:sp>
      <p:sp>
        <p:nvSpPr>
          <p:cNvPr id="8" name="Пятиугольник 7"/>
          <p:cNvSpPr/>
          <p:nvPr/>
        </p:nvSpPr>
        <p:spPr>
          <a:xfrm>
            <a:off x="515915" y="5013176"/>
            <a:ext cx="2808312" cy="144016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9 клубных формирований 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о </a:t>
            </a:r>
            <a:r>
              <a:rPr lang="ru-RU" b="1" dirty="0" smtClean="0">
                <a:solidFill>
                  <a:schemeClr val="bg1"/>
                </a:solidFill>
              </a:rPr>
              <a:t>интересам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Пятиугольник 8"/>
          <p:cNvSpPr/>
          <p:nvPr/>
        </p:nvSpPr>
        <p:spPr>
          <a:xfrm flipH="1">
            <a:off x="5148064" y="5013176"/>
            <a:ext cx="2952328" cy="144016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Активных участников более 150 человек</a:t>
            </a:r>
            <a:endParaRPr lang="ru-RU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51520" y="2933985"/>
            <a:ext cx="2923422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300" b="1" dirty="0" smtClean="0"/>
              <a:t>«Скандинавская ходьба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300" b="1" dirty="0"/>
              <a:t>Клуб «Беседа</a:t>
            </a:r>
            <a:r>
              <a:rPr lang="ru-RU" sz="1300" b="1" dirty="0" smtClean="0"/>
              <a:t>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300" b="1" dirty="0"/>
              <a:t>Кружок вязания крючком и </a:t>
            </a:r>
            <a:r>
              <a:rPr lang="ru-RU" sz="1300" b="1" dirty="0" smtClean="0"/>
              <a:t>спицам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300" b="1" dirty="0"/>
              <a:t>Студия декоративно-прикладного творчества «Кудесница</a:t>
            </a:r>
            <a:r>
              <a:rPr lang="ru-RU" sz="1300" b="1" dirty="0" smtClean="0"/>
              <a:t>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300" b="1" dirty="0"/>
              <a:t>Клуб здоровья «Стимул»</a:t>
            </a:r>
            <a:r>
              <a:rPr lang="ru-RU" sz="1100" dirty="0"/>
              <a:t>	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82348" y="3134039"/>
            <a:ext cx="2664296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300" b="1" dirty="0"/>
              <a:t>Мужской клуб «17 в семнадцать</a:t>
            </a:r>
            <a:r>
              <a:rPr lang="ru-RU" sz="1300" b="1" dirty="0" smtClean="0"/>
              <a:t>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300" b="1" dirty="0"/>
              <a:t>Кружок «Умелые руки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300" b="1" dirty="0"/>
              <a:t>Кружок «Волшебный клубок</a:t>
            </a:r>
            <a:r>
              <a:rPr lang="ru-RU" sz="1300" b="1" dirty="0" smtClean="0"/>
              <a:t>»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300" b="1" dirty="0"/>
              <a:t>Клуб «Бабушки + внуки</a:t>
            </a:r>
            <a:r>
              <a:rPr lang="ru-RU" sz="1300" b="1" dirty="0" smtClean="0"/>
              <a:t>»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7215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996" y="1167294"/>
            <a:ext cx="2677943" cy="35705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42" y="1089594"/>
            <a:ext cx="2627189" cy="3511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193542" y="581763"/>
            <a:ext cx="2822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«Школа долголетия»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256" y="1988840"/>
            <a:ext cx="3136267" cy="2088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2938869" y="1244368"/>
            <a:ext cx="3131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«Школа безопасности»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40153" y="581467"/>
            <a:ext cx="3096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</a:rPr>
              <a:t>«Школа финансовой грамотности»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55703" y="4875383"/>
            <a:ext cx="36593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70C0"/>
                </a:solidFill>
              </a:rPr>
              <a:t>Получено 14 сертификатов Банка России о прохождении онлайн-занятий по финансовой грамотности </a:t>
            </a:r>
            <a:endParaRPr lang="ru-RU" sz="1400" b="1" dirty="0">
              <a:solidFill>
                <a:srgbClr val="0070C0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42" y="4753976"/>
            <a:ext cx="2332963" cy="165063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4767265"/>
            <a:ext cx="2389668" cy="1690752"/>
          </a:xfrm>
          <a:prstGeom prst="rect">
            <a:avLst/>
          </a:prstGeom>
        </p:spPr>
      </p:pic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08912" cy="360040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Центр активного долголетия «Забота»</a:t>
            </a:r>
            <a:endParaRPr lang="ru-RU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799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8828" y="116632"/>
            <a:ext cx="7467600" cy="850106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u="sng" dirty="0" err="1" smtClean="0">
                <a:solidFill>
                  <a:schemeClr val="accent6">
                    <a:lumMod val="50000"/>
                  </a:schemeClr>
                </a:solidFill>
              </a:rPr>
              <a:t>Стационарозамещающая</a:t>
            </a:r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</a:rPr>
              <a:t> технология </a:t>
            </a:r>
            <a:r>
              <a:rPr lang="ru-RU" b="1" u="sng" dirty="0">
                <a:solidFill>
                  <a:schemeClr val="accent6">
                    <a:lumMod val="50000"/>
                  </a:schemeClr>
                </a:solidFill>
              </a:rPr>
              <a:t>«Профилакторий на дому»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90753" y="1132056"/>
            <a:ext cx="8147248" cy="4873752"/>
          </a:xfrm>
        </p:spPr>
        <p:txBody>
          <a:bodyPr/>
          <a:lstStyle/>
          <a:p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В 2022 году участковыми специалистами охвачено – 25 человек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805" y="4347357"/>
            <a:ext cx="2750228" cy="2062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63" y="2063071"/>
            <a:ext cx="2816153" cy="21121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415" y="4319517"/>
            <a:ext cx="2865659" cy="21492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94" y="4347358"/>
            <a:ext cx="2721417" cy="20410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2056678"/>
            <a:ext cx="2777549" cy="20831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6594" y="2063071"/>
            <a:ext cx="2769025" cy="20767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67256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562074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Социальное сопровождение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57200" y="908720"/>
            <a:ext cx="7859216" cy="5565232"/>
          </a:xfrm>
        </p:spPr>
        <p:txBody>
          <a:bodyPr/>
          <a:lstStyle/>
          <a:p>
            <a:pPr lvl="0"/>
            <a:r>
              <a:rPr lang="ru-RU" sz="1800" dirty="0"/>
              <a:t>Всего на социальном </a:t>
            </a:r>
            <a:r>
              <a:rPr lang="ru-RU" sz="1800" dirty="0" smtClean="0"/>
              <a:t>сопровождении в сельских поселениях: </a:t>
            </a:r>
            <a:endParaRPr lang="ru-RU" sz="1800" dirty="0"/>
          </a:p>
          <a:p>
            <a:pPr lvl="0"/>
            <a:r>
              <a:rPr lang="ru-RU" sz="1800" dirty="0" smtClean="0"/>
              <a:t>За 9 </a:t>
            </a:r>
            <a:r>
              <a:rPr lang="ru-RU" sz="1800" dirty="0"/>
              <a:t>месяцев 2022 г. </a:t>
            </a:r>
            <a:r>
              <a:rPr lang="ru-RU" sz="1800" dirty="0" smtClean="0"/>
              <a:t>– 66 семей (</a:t>
            </a:r>
            <a:r>
              <a:rPr lang="ru-RU" sz="1800" dirty="0"/>
              <a:t>2021 г. - </a:t>
            </a:r>
            <a:r>
              <a:rPr lang="ru-RU" sz="1800" dirty="0" smtClean="0"/>
              <a:t>24), </a:t>
            </a:r>
            <a:endParaRPr lang="ru-RU" sz="1800" dirty="0" smtClean="0"/>
          </a:p>
          <a:p>
            <a:pPr lvl="0"/>
            <a:r>
              <a:rPr lang="ru-RU" sz="1800" dirty="0" smtClean="0"/>
              <a:t>из </a:t>
            </a:r>
            <a:r>
              <a:rPr lang="ru-RU" sz="1800" dirty="0" smtClean="0"/>
              <a:t>них в рамках социального контракта состоит 19 (2021 г. – </a:t>
            </a:r>
            <a:r>
              <a:rPr lang="ru-RU" sz="1800" dirty="0" smtClean="0"/>
              <a:t>24); </a:t>
            </a:r>
          </a:p>
          <a:p>
            <a:pPr lvl="0"/>
            <a:r>
              <a:rPr lang="ru-RU" sz="1800" dirty="0" smtClean="0"/>
              <a:t>39 </a:t>
            </a:r>
            <a:r>
              <a:rPr lang="ru-RU" sz="1800" dirty="0" smtClean="0"/>
              <a:t>семей мобилизованных граждан; </a:t>
            </a:r>
            <a:endParaRPr lang="ru-RU" sz="1800" dirty="0" smtClean="0"/>
          </a:p>
          <a:p>
            <a:pPr lvl="0"/>
            <a:r>
              <a:rPr lang="ru-RU" sz="1800" dirty="0" smtClean="0"/>
              <a:t>8 </a:t>
            </a:r>
            <a:r>
              <a:rPr lang="ru-RU" sz="1800" dirty="0" smtClean="0"/>
              <a:t>семей, нуждающихся в социальных услугах.</a:t>
            </a:r>
          </a:p>
          <a:p>
            <a:pPr lvl="0"/>
            <a:endParaRPr lang="ru-RU" dirty="0"/>
          </a:p>
        </p:txBody>
      </p:sp>
      <p:grpSp>
        <p:nvGrpSpPr>
          <p:cNvPr id="4" name="Group 2">
            <a:extLst>
              <a:ext uri="{FF2B5EF4-FFF2-40B4-BE49-F238E27FC236}">
                <a16:creationId xmlns="" xmlns:a16="http://schemas.microsoft.com/office/drawing/2014/main" id="{B54DB008-DFF5-4219-8FCA-4FDB53F8BB1D}"/>
              </a:ext>
            </a:extLst>
          </p:cNvPr>
          <p:cNvGrpSpPr/>
          <p:nvPr/>
        </p:nvGrpSpPr>
        <p:grpSpPr>
          <a:xfrm>
            <a:off x="141174" y="2811469"/>
            <a:ext cx="8515588" cy="3166101"/>
            <a:chOff x="393383" y="1678066"/>
            <a:chExt cx="11354117" cy="4242434"/>
          </a:xfrm>
        </p:grpSpPr>
        <p:sp>
          <p:nvSpPr>
            <p:cNvPr id="5" name="Rounded Rectangle 24">
              <a:extLst>
                <a:ext uri="{FF2B5EF4-FFF2-40B4-BE49-F238E27FC236}">
                  <a16:creationId xmlns="" xmlns:a16="http://schemas.microsoft.com/office/drawing/2014/main" id="{44CBFC28-29F2-4D3B-AA4B-7A2C7813C8C7}"/>
                </a:ext>
              </a:extLst>
            </p:cNvPr>
            <p:cNvSpPr/>
            <p:nvPr/>
          </p:nvSpPr>
          <p:spPr>
            <a:xfrm>
              <a:off x="2514600" y="2879777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ed Rectangle 26">
              <a:extLst>
                <a:ext uri="{FF2B5EF4-FFF2-40B4-BE49-F238E27FC236}">
                  <a16:creationId xmlns="" xmlns:a16="http://schemas.microsoft.com/office/drawing/2014/main" id="{030A0458-170A-4986-853D-E645265EC96E}"/>
                </a:ext>
              </a:extLst>
            </p:cNvPr>
            <p:cNvSpPr/>
            <p:nvPr/>
          </p:nvSpPr>
          <p:spPr>
            <a:xfrm>
              <a:off x="2514600" y="3881956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ounded Rectangle 28">
              <a:extLst>
                <a:ext uri="{FF2B5EF4-FFF2-40B4-BE49-F238E27FC236}">
                  <a16:creationId xmlns="" xmlns:a16="http://schemas.microsoft.com/office/drawing/2014/main" id="{42D99CBC-852C-4D13-A83A-74EA18A42918}"/>
                </a:ext>
              </a:extLst>
            </p:cNvPr>
            <p:cNvSpPr/>
            <p:nvPr/>
          </p:nvSpPr>
          <p:spPr>
            <a:xfrm>
              <a:off x="2514600" y="4884134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ounded Rectangle 13">
              <a:extLst>
                <a:ext uri="{FF2B5EF4-FFF2-40B4-BE49-F238E27FC236}">
                  <a16:creationId xmlns="" xmlns:a16="http://schemas.microsoft.com/office/drawing/2014/main" id="{AB38CDF9-152F-4BF3-879D-371EB5BE9E98}"/>
                </a:ext>
              </a:extLst>
            </p:cNvPr>
            <p:cNvSpPr/>
            <p:nvPr/>
          </p:nvSpPr>
          <p:spPr>
            <a:xfrm>
              <a:off x="2514600" y="1877598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49">
              <a:extLst>
                <a:ext uri="{FF2B5EF4-FFF2-40B4-BE49-F238E27FC236}">
                  <a16:creationId xmlns="" xmlns:a16="http://schemas.microsoft.com/office/drawing/2014/main" id="{85440D85-C8CA-4F47-84C3-73E09A029BE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571999" y="1819730"/>
              <a:ext cx="6781799" cy="989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400" dirty="0" smtClean="0"/>
                <a:t>Содействие в трудоустройстве, обучении граждан, получении юридической помощи, устройство детей в образовательные учреждения и т.д.</a:t>
              </a:r>
              <a:endParaRPr lang="en-US" sz="1400" dirty="0"/>
            </a:p>
          </p:txBody>
        </p:sp>
        <p:sp>
          <p:nvSpPr>
            <p:cNvPr id="10" name="Rectangle 50">
              <a:extLst>
                <a:ext uri="{FF2B5EF4-FFF2-40B4-BE49-F238E27FC236}">
                  <a16:creationId xmlns="" xmlns:a16="http://schemas.microsoft.com/office/drawing/2014/main" id="{22136CEF-B766-4C31-9943-3FFB3EF3D73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572000" y="2809507"/>
              <a:ext cx="6781799" cy="98977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400" dirty="0" smtClean="0"/>
                <a:t>Оформление мер государственной социальной поддержки: детских пособий, ЕДК, субсидий, средства для ухода за новорожденными, продуктовые наборы и т.д.</a:t>
              </a:r>
              <a:endParaRPr lang="en-US" sz="1400" dirty="0"/>
            </a:p>
          </p:txBody>
        </p:sp>
        <p:sp>
          <p:nvSpPr>
            <p:cNvPr id="11" name="Rectangle 51">
              <a:extLst>
                <a:ext uri="{FF2B5EF4-FFF2-40B4-BE49-F238E27FC236}">
                  <a16:creationId xmlns="" xmlns:a16="http://schemas.microsoft.com/office/drawing/2014/main" id="{A8B47D28-9801-4068-BAAC-B9F33C2AE46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572000" y="3957183"/>
              <a:ext cx="6781799" cy="70109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ru-RU" sz="1400" dirty="0" smtClean="0"/>
                <a:t>Организация отдыха и оздоровления, социальнозначимого отдыха, трудоустройство несовершеннолетних</a:t>
              </a:r>
              <a:r>
                <a:rPr lang="ru-RU" sz="1400" dirty="0"/>
                <a:t> </a:t>
              </a:r>
              <a:r>
                <a:rPr lang="ru-RU" sz="1400" dirty="0" smtClean="0"/>
                <a:t>и т.д. </a:t>
              </a:r>
              <a:endParaRPr lang="en-US" sz="1400" dirty="0"/>
            </a:p>
          </p:txBody>
        </p:sp>
        <p:sp>
          <p:nvSpPr>
            <p:cNvPr id="13" name="Oval 1">
              <a:extLst>
                <a:ext uri="{FF2B5EF4-FFF2-40B4-BE49-F238E27FC236}">
                  <a16:creationId xmlns=""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393383" y="1678066"/>
              <a:ext cx="4242435" cy="4242434"/>
            </a:xfrm>
            <a:prstGeom prst="ellipse">
              <a:avLst/>
            </a:prstGeom>
            <a:solidFill>
              <a:srgbClr val="FF000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Овал 13"/>
          <p:cNvSpPr/>
          <p:nvPr/>
        </p:nvSpPr>
        <p:spPr>
          <a:xfrm>
            <a:off x="867991" y="3645170"/>
            <a:ext cx="1728192" cy="155896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C:\Users\04\Desktop\455-4557434_areas-of-practice-logo-family-planni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67" y="3897027"/>
            <a:ext cx="1321439" cy="10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3419872" y="5204138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 smtClean="0"/>
              <a:t>Содействие в получении психологической помощи, помощи в быту, в том числе с привлечением волонтеров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14569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Эркер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Эркер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Эркер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el</Template>
  <TotalTime>264</TotalTime>
  <Words>338</Words>
  <Application>Microsoft Office PowerPoint</Application>
  <PresentationFormat>Экран (4:3)</PresentationFormat>
  <Paragraphs>57</Paragraphs>
  <Slides>1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Эркер</vt:lpstr>
      <vt:lpstr>Бюджетное учреждение социального обслуживания Вологодской области  «Комплексный центр социального обслуживания населения  Сокольского района» </vt:lpstr>
      <vt:lpstr>Сокольский муниципальный район</vt:lpstr>
      <vt:lpstr>Меры социальной поддержки</vt:lpstr>
      <vt:lpstr>Мобильные бригады</vt:lpstr>
      <vt:lpstr>Междисциплинарная бригада</vt:lpstr>
      <vt:lpstr>Центр активного долголетия «Забота»</vt:lpstr>
      <vt:lpstr>Центр активного долголетия «Забота»</vt:lpstr>
      <vt:lpstr>Стационарозамещающая технология «Профилакторий на дому»</vt:lpstr>
      <vt:lpstr>Социальное сопровождение</vt:lpstr>
      <vt:lpstr>повышение квалификации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юджетное учреждение социального обслуживания Вологодской области  «Комплексный центр социального обслуживания населения Сокольского района»</dc:title>
  <dc:creator>admin</dc:creator>
  <cp:lastModifiedBy>admin</cp:lastModifiedBy>
  <cp:revision>38</cp:revision>
  <dcterms:created xsi:type="dcterms:W3CDTF">2022-11-17T11:22:32Z</dcterms:created>
  <dcterms:modified xsi:type="dcterms:W3CDTF">2022-11-18T05:39:30Z</dcterms:modified>
</cp:coreProperties>
</file>